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a18a4236ad1977ed84cf5a5a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A43B0417-DD6C-443A-AEAC-C04720FF320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FDE5C20F-0EE7-4D73-B4F9-180D6A2F7A25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410A2E0B-6F7A-4BEB-B2D2-814A8F410176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748B2BBF-4F06-41CE-BD7E-D69A5AEF7EC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5341CE45-A92B-47F2-8F0D-5C74243CC901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616FFC06-CCAA-4D3A-B504-3F9ADEEFF85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anutention délicate des produits pour un meilleur rendement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fr-FR" sz="800" dirty="0"/>
              <a:t>Valeur : </a:t>
            </a:r>
            <a:r>
              <a:rPr lang="fr-FR" sz="800" dirty="0">
                <a:solidFill>
                  <a:srgbClr val="000000"/>
                </a:solidFill>
              </a:rPr>
              <a:t>Rendement,</a:t>
            </a:r>
            <a:r>
              <a:rPr lang="fr-FR" sz="800" dirty="0"/>
              <a:t> Flexibilité</a:t>
            </a:r>
          </a:p>
          <a:p>
            <a:r>
              <a:rPr lang="fr-FR" sz="800" dirty="0"/>
              <a:t>Équipements : Palettiseurs / Dépalettiseurs</a:t>
            </a:r>
          </a:p>
          <a:p>
            <a:r>
              <a:rPr lang="fr-FR" sz="800"/>
              <a:t>Code catalogue : EOL031</a:t>
            </a:r>
            <a:endParaRPr lang="fr-FR" sz="8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533A6C7-8C31-4DFB-A9E4-4F3D23922BF7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AXOSMART</a:t>
            </a:r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95B83833-8EF5-4C81-AD44-0BA4557E1725}"/>
              </a:ext>
            </a:extLst>
          </p:cNvPr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fr-FR" sz="1000" b="1"/>
              <a:t>Productivité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/>
              <a:t>Bénéficiez d'un niveau accru de productivité, de précision, de rendement et de qualité du conditionnement, sans oublier la possibilité de réaliser des préhensions de packs multiples dans le même cycl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/>
              <a:t>La machine peut gérer tout type de suremballage (cartons, packs et caisses) avec une extrême précision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/>
              <a:t>Une technologie parfaite pour gérer des packs/emballages plus délicat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/>
              <a:t>Changements de schémas de palettisation et de format rapides gérés entièrement par des logiciels (sans réglage manuel des mécanismes requis).</a:t>
            </a:r>
          </a:p>
          <a:p>
            <a:pPr>
              <a:buClr>
                <a:schemeClr val="accent4"/>
              </a:buClr>
            </a:pPr>
            <a:r>
              <a:rPr lang="fr-FR" sz="1000" b="1"/>
              <a:t>Maintenan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/>
              <a:t>Faible besoin de maintenan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Rettangolo 11">
            <a:extLst>
              <a:ext uri="{FF2B5EF4-FFF2-40B4-BE49-F238E27FC236}">
                <a16:creationId xmlns:a16="http://schemas.microsoft.com/office/drawing/2014/main" id="{3D3E1DD3-3EC1-451E-A452-E79298D9F6B1}"/>
              </a:ext>
            </a:extLst>
          </p:cNvPr>
          <p:cNvSpPr/>
          <p:nvPr/>
        </p:nvSpPr>
        <p:spPr>
          <a:xfrm>
            <a:off x="4757021" y="2071626"/>
            <a:ext cx="389701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fr-FR" sz="1000" dirty="0"/>
              <a:t>L’</a:t>
            </a:r>
            <a:r>
              <a:rPr lang="fr-FR" sz="1000" b="1" dirty="0"/>
              <a:t>AXOSMART</a:t>
            </a:r>
            <a:r>
              <a:rPr lang="fr-FR" sz="1000" dirty="0"/>
              <a:t>™ 1 or 2 modules est l’équipement idéal en termes d’encombrement et de gestion améliorée de la manutention des produits au niveau de l’alimentation. </a:t>
            </a:r>
          </a:p>
          <a:p>
            <a:r>
              <a:rPr lang="fr-FR" sz="1000" dirty="0"/>
              <a:t>Il se compose des éléments suivants :</a:t>
            </a:r>
          </a:p>
          <a:p>
            <a:r>
              <a:rPr lang="fr-FR" sz="1000" dirty="0"/>
              <a:t>-Un convoyeur doseur qui compte et répartit les produits.</a:t>
            </a:r>
          </a:p>
          <a:p>
            <a:r>
              <a:rPr lang="fr-FR" sz="1000" dirty="0"/>
              <a:t>-Une table de transfert composée d'un tapis de chaînes plates (pour répartir et transporter les packs à la bonne cadence).</a:t>
            </a:r>
          </a:p>
          <a:p>
            <a:r>
              <a:rPr lang="fr-FR" sz="1000" dirty="0"/>
              <a:t>-Au moins 1 tête de préhension – qui transfère et retourne les packs pour les placer dans la bonne position.</a:t>
            </a:r>
          </a:p>
          <a:p>
            <a:r>
              <a:rPr lang="fr-FR" sz="1000" dirty="0"/>
              <a:t>-Une table de formation des couches pour positionner les packs selon le schéma de palettisation choisi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pic>
        <p:nvPicPr>
          <p:cNvPr id="23" name="Picture 1">
            <a:extLst>
              <a:ext uri="{FF2B5EF4-FFF2-40B4-BE49-F238E27FC236}">
                <a16:creationId xmlns:a16="http://schemas.microsoft.com/office/drawing/2014/main" id="{52A7DF8F-20E6-4EF7-A253-902AA4427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077" y="4493689"/>
            <a:ext cx="1941002" cy="13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>
            <a:extLst>
              <a:ext uri="{FF2B5EF4-FFF2-40B4-BE49-F238E27FC236}">
                <a16:creationId xmlns:a16="http://schemas.microsoft.com/office/drawing/2014/main" id="{CDFC4623-4326-4EFC-98CB-D5E74F175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734" y="4456453"/>
            <a:ext cx="2112828" cy="1412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678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3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Manutention délicate des produits pour un meilleur rendeme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3</cp:revision>
  <cp:lastPrinted>2017-09-01T14:01:41Z</cp:lastPrinted>
  <dcterms:created xsi:type="dcterms:W3CDTF">2017-07-10T14:51:51Z</dcterms:created>
  <dcterms:modified xsi:type="dcterms:W3CDTF">2019-06-26T14:1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1:17.4707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